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5" r:id="rId3"/>
    <p:sldMasterId id="2147483951" r:id="rId4"/>
    <p:sldMasterId id="2147484172" r:id="rId5"/>
  </p:sldMasterIdLst>
  <p:notesMasterIdLst>
    <p:notesMasterId r:id="rId13"/>
  </p:notesMasterIdLst>
  <p:sldIdLst>
    <p:sldId id="638" r:id="rId6"/>
    <p:sldId id="593" r:id="rId7"/>
    <p:sldId id="595" r:id="rId8"/>
    <p:sldId id="643" r:id="rId9"/>
    <p:sldId id="645" r:id="rId10"/>
    <p:sldId id="647" r:id="rId11"/>
    <p:sldId id="641" r:id="rId1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Trebuchet MS" charset="0"/>
        <a:ea typeface="ヒラギノ角ゴ ProN W3" charset="0"/>
        <a:cs typeface="ヒラギノ角ゴ ProN W3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89B04"/>
    <a:srgbClr val="003245"/>
    <a:srgbClr val="00B2F5"/>
    <a:srgbClr val="A6A6A6"/>
    <a:srgbClr val="D9D9D9"/>
    <a:srgbClr val="3C8C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849" autoAdjust="0"/>
  </p:normalViewPr>
  <p:slideViewPr>
    <p:cSldViewPr>
      <p:cViewPr>
        <p:scale>
          <a:sx n="77" d="100"/>
          <a:sy n="77" d="100"/>
        </p:scale>
        <p:origin x="-94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CCD1AA5-0661-BA4E-ACFA-598D75716A58}" type="datetimeFigureOut">
              <a:rPr lang="es-ES"/>
              <a:pPr>
                <a:defRPr/>
              </a:pPr>
              <a:t>21/12/2015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smtClean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n-GB" noProof="0" smtClean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60F26B7-3884-D744-93FD-8E5994AA4B46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52011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F26B7-3884-D744-93FD-8E5994AA4B46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47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F26B7-3884-D744-93FD-8E5994AA4B46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47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F26B7-3884-D744-93FD-8E5994AA4B46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47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F26B7-3884-D744-93FD-8E5994AA4B46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47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F26B7-3884-D744-93FD-8E5994AA4B46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47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 userDrawn="1"/>
        </p:nvGrpSpPr>
        <p:grpSpPr bwMode="auto">
          <a:xfrm>
            <a:off x="-23813" y="2286000"/>
            <a:ext cx="9167813" cy="2159000"/>
            <a:chOff x="-23446" y="2286000"/>
            <a:chExt cx="9167446" cy="2159000"/>
          </a:xfrm>
        </p:grpSpPr>
        <p:sp>
          <p:nvSpPr>
            <p:cNvPr id="5" name="Rectangle 1"/>
            <p:cNvSpPr>
              <a:spLocks/>
            </p:cNvSpPr>
            <p:nvPr userDrawn="1"/>
          </p:nvSpPr>
          <p:spPr bwMode="auto">
            <a:xfrm>
              <a:off x="128954" y="2286000"/>
              <a:ext cx="8663354" cy="2159000"/>
            </a:xfrm>
            <a:prstGeom prst="rect">
              <a:avLst/>
            </a:prstGeom>
            <a:solidFill>
              <a:srgbClr val="E7E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  <p:sp>
          <p:nvSpPr>
            <p:cNvPr id="6" name="Rectangle 9"/>
            <p:cNvSpPr>
              <a:spLocks/>
            </p:cNvSpPr>
            <p:nvPr userDrawn="1"/>
          </p:nvSpPr>
          <p:spPr bwMode="auto">
            <a:xfrm>
              <a:off x="-23446" y="2286000"/>
              <a:ext cx="152395" cy="2159000"/>
            </a:xfrm>
            <a:prstGeom prst="rect">
              <a:avLst/>
            </a:prstGeom>
            <a:solidFill>
              <a:schemeClr val="accent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>
                <a:solidFill>
                  <a:srgbClr val="003245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Rectangle 10"/>
            <p:cNvSpPr>
              <a:spLocks/>
            </p:cNvSpPr>
            <p:nvPr userDrawn="1"/>
          </p:nvSpPr>
          <p:spPr bwMode="auto">
            <a:xfrm>
              <a:off x="128954" y="2286000"/>
              <a:ext cx="82062" cy="2159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  <p:sp>
          <p:nvSpPr>
            <p:cNvPr id="8" name="Rectangle 11"/>
            <p:cNvSpPr>
              <a:spLocks/>
            </p:cNvSpPr>
            <p:nvPr userDrawn="1"/>
          </p:nvSpPr>
          <p:spPr bwMode="auto">
            <a:xfrm>
              <a:off x="8792308" y="2286000"/>
              <a:ext cx="351692" cy="2159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</p:grp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70085" y="2408239"/>
            <a:ext cx="7772400" cy="1020762"/>
          </a:xfrm>
          <a:prstGeom prst="rect">
            <a:avLst/>
          </a:prstGeom>
        </p:spPr>
        <p:txBody>
          <a:bodyPr anchor="ctr"/>
          <a:lstStyle>
            <a:lvl1pPr algn="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341686" y="3486605"/>
            <a:ext cx="6400800" cy="8858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68313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13895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00397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22243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73283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20660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5632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2178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26127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9784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6527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183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13" y="115888"/>
            <a:ext cx="2071687" cy="60102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8"/>
            <a:ext cx="6067425" cy="60102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612409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85376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838947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62694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5475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6639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31813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97883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55596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552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c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9110" y="0"/>
            <a:ext cx="7484891" cy="8366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174625" indent="0">
              <a:defRPr lang="de-DE" dirty="0"/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64151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221918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692737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í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 userDrawn="1"/>
        </p:nvGrpSpPr>
        <p:grpSpPr bwMode="auto">
          <a:xfrm>
            <a:off x="-23813" y="2286000"/>
            <a:ext cx="9167813" cy="2159000"/>
            <a:chOff x="-23446" y="2286000"/>
            <a:chExt cx="9167446" cy="2159000"/>
          </a:xfrm>
        </p:grpSpPr>
        <p:sp>
          <p:nvSpPr>
            <p:cNvPr id="5" name="Rectangle 1"/>
            <p:cNvSpPr>
              <a:spLocks/>
            </p:cNvSpPr>
            <p:nvPr userDrawn="1"/>
          </p:nvSpPr>
          <p:spPr bwMode="auto">
            <a:xfrm>
              <a:off x="128954" y="2286000"/>
              <a:ext cx="8663354" cy="2159000"/>
            </a:xfrm>
            <a:prstGeom prst="rect">
              <a:avLst/>
            </a:prstGeom>
            <a:solidFill>
              <a:srgbClr val="E7E7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  <p:sp>
          <p:nvSpPr>
            <p:cNvPr id="6" name="Rectangle 9"/>
            <p:cNvSpPr>
              <a:spLocks/>
            </p:cNvSpPr>
            <p:nvPr userDrawn="1"/>
          </p:nvSpPr>
          <p:spPr bwMode="auto">
            <a:xfrm>
              <a:off x="-23446" y="2286000"/>
              <a:ext cx="152395" cy="2159000"/>
            </a:xfrm>
            <a:prstGeom prst="rect">
              <a:avLst/>
            </a:prstGeom>
            <a:solidFill>
              <a:schemeClr val="accent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>
                <a:solidFill>
                  <a:srgbClr val="003245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Rectangle 10"/>
            <p:cNvSpPr>
              <a:spLocks/>
            </p:cNvSpPr>
            <p:nvPr userDrawn="1"/>
          </p:nvSpPr>
          <p:spPr bwMode="auto">
            <a:xfrm>
              <a:off x="128954" y="2286000"/>
              <a:ext cx="82062" cy="2159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  <p:sp>
          <p:nvSpPr>
            <p:cNvPr id="8" name="Rectangle 11"/>
            <p:cNvSpPr>
              <a:spLocks/>
            </p:cNvSpPr>
            <p:nvPr userDrawn="1"/>
          </p:nvSpPr>
          <p:spPr bwMode="auto">
            <a:xfrm>
              <a:off x="8792308" y="2286000"/>
              <a:ext cx="351692" cy="2159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245"/>
                </a:solidFill>
              </a:endParaRPr>
            </a:p>
          </p:txBody>
        </p:sp>
      </p:grp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70085" y="2408239"/>
            <a:ext cx="7772400" cy="1020762"/>
          </a:xfrm>
          <a:prstGeom prst="rect">
            <a:avLst/>
          </a:prstGeom>
        </p:spPr>
        <p:txBody>
          <a:bodyPr anchor="ctr"/>
          <a:lstStyle>
            <a:lvl1pPr algn="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341686" y="3486605"/>
            <a:ext cx="6400800" cy="8858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68313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64395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64395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4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5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7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8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9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1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12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3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14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6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17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5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18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1BFC789B-8488-424C-8E8D-9DB131853BF3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1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72534"/>
                </a:solidFill>
                <a:sym typeface="Trebuchet MS" charset="0"/>
              </a:defRPr>
            </a:lvl1pPr>
          </a:lstStyle>
          <a:p>
            <a:pPr>
              <a:defRPr/>
            </a:pPr>
            <a:fld id="{CDEC89B8-4FEA-A844-B521-2293702C80AC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50905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6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7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8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9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10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1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2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3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14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5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16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8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7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20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8AA79513-C3AC-3B4B-907A-EEF74CB12539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9731836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922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c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9110" y="0"/>
            <a:ext cx="7484891" cy="8366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174625" indent="0">
              <a:defRPr lang="de-DE" dirty="0"/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836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4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5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7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8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9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1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12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3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14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6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17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5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18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1A70F8C3-C3BF-C243-9920-577F92EB9C09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1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72534"/>
                </a:solidFill>
                <a:sym typeface="Trebuchet MS" charset="0"/>
              </a:defRPr>
            </a:lvl1pPr>
          </a:lstStyle>
          <a:p>
            <a:pPr>
              <a:defRPr/>
            </a:pPr>
            <a:fld id="{732FCDEB-5B79-A146-9709-DF3C7F057C12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45364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6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7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8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9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10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1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2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3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14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5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16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8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7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20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0DA48895-D025-8C4A-98E0-43AC0B57FE2A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0407921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2"/>
          <p:cNvSpPr>
            <a:spLocks/>
          </p:cNvSpPr>
          <p:nvPr userDrawn="1"/>
        </p:nvSpPr>
        <p:spPr bwMode="auto">
          <a:xfrm>
            <a:off x="371475" y="581025"/>
            <a:ext cx="1676400" cy="50165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027" name="Group 4"/>
          <p:cNvGrpSpPr>
            <a:grpSpLocks/>
          </p:cNvGrpSpPr>
          <p:nvPr userDrawn="1"/>
        </p:nvGrpSpPr>
        <p:grpSpPr bwMode="auto">
          <a:xfrm>
            <a:off x="7629525" y="6437313"/>
            <a:ext cx="1130300" cy="231775"/>
            <a:chOff x="0" y="0"/>
            <a:chExt cx="591" cy="111"/>
          </a:xfrm>
        </p:grpSpPr>
        <p:sp>
          <p:nvSpPr>
            <p:cNvPr id="1028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_tradnl"/>
            </a:p>
          </p:txBody>
        </p:sp>
        <p:sp>
          <p:nvSpPr>
            <p:cNvPr id="1029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_tradnl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Trebuchet M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Trebuchet M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Trebuchet M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Trebuchet M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742950" indent="-28575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1430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02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574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le Placeholder 1"/>
          <p:cNvSpPr>
            <a:spLocks noGrp="1"/>
          </p:cNvSpPr>
          <p:nvPr>
            <p:ph type="title"/>
          </p:nvPr>
        </p:nvSpPr>
        <p:spPr bwMode="auto">
          <a:xfrm>
            <a:off x="-6350" y="-11113"/>
            <a:ext cx="91440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>
                <a:sym typeface="Trebuchet MS" charset="0"/>
              </a:rPr>
              <a:t>Click to edit Master title style</a:t>
            </a:r>
          </a:p>
        </p:txBody>
      </p:sp>
      <p:sp>
        <p:nvSpPr>
          <p:cNvPr id="1028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29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30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31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7176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1041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2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3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4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7177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7178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7181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7183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7184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038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1035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965F9E9A-BACE-9347-9C83-12A28FF8AFDA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7180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265113" y="1268413"/>
            <a:ext cx="8594725" cy="468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55" r:id="rId3"/>
    <p:sldLayoutId id="2147484156" r:id="rId4"/>
  </p:sldLayoutIdLst>
  <p:timing>
    <p:tnLst>
      <p:par>
        <p:cTn id="1" dur="indefinite" restart="never" nodeType="tmRoot"/>
      </p:par>
    </p:tnLst>
  </p:timing>
  <p:hf hdr="0" ftr="0"/>
  <p:txStyles>
    <p:titleStyle>
      <a:lvl1pPr marL="174625" indent="-174625" algn="l" rtl="0" eaLnBrk="0" fontAlgn="base" hangingPunct="0">
        <a:spcBef>
          <a:spcPct val="0"/>
        </a:spcBef>
        <a:spcAft>
          <a:spcPct val="0"/>
        </a:spcAft>
        <a:defRPr lang="de-DE" sz="2000" b="1" kern="120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charset="0"/>
        </a:defRPr>
      </a:lvl1pPr>
      <a:lvl2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2pPr>
      <a:lvl3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3pPr>
      <a:lvl4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4pPr>
      <a:lvl5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5pPr>
      <a:lvl6pPr marL="6318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6pPr>
      <a:lvl7pPr marL="10890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7pPr>
      <a:lvl8pPr marL="15462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8pPr>
      <a:lvl9pPr marL="20034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9pPr>
    </p:titleStyle>
    <p:bodyStyle>
      <a:lvl1pPr marL="285750" indent="-285750" algn="l" rtl="0" eaLnBrk="0" fontAlgn="base" hangingPunct="0">
        <a:spcBef>
          <a:spcPts val="1925"/>
        </a:spcBef>
        <a:spcAft>
          <a:spcPct val="0"/>
        </a:spcAft>
        <a:buClr>
          <a:srgbClr val="008597"/>
        </a:buClr>
        <a:buFont typeface="Wingdings 3" charset="0"/>
        <a:buChar char=""/>
        <a:defRPr lang="en-US" altLang="en-US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–"/>
        <a:defRPr lang="en-US" altLang="en-US" kern="1200" dirty="0">
          <a:solidFill>
            <a:schemeClr val="tx1"/>
          </a:solidFill>
          <a:latin typeface="+mn-lt"/>
          <a:ea typeface="ＭＳ Ｐゴシック" charset="0"/>
          <a:cs typeface="Arial" pitchFamily="34" charset="0"/>
        </a:defRPr>
      </a:lvl2pPr>
      <a:lvl3pPr marL="806450" indent="-266700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•"/>
        <a:defRPr lang="en-US" altLang="en-US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071563" indent="-265113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–"/>
        <a:defRPr lang="en-US" altLang="en-US" sz="1600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1346200" indent="-274638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•"/>
        <a:defRPr lang="en-US" altLang="en-US" sz="1600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Title Placeholder 1"/>
          <p:cNvSpPr>
            <a:spLocks noGrp="1"/>
          </p:cNvSpPr>
          <p:nvPr>
            <p:ph type="title"/>
          </p:nvPr>
        </p:nvSpPr>
        <p:spPr bwMode="auto">
          <a:xfrm>
            <a:off x="-6350" y="-11113"/>
            <a:ext cx="91440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>
                <a:sym typeface="Trebuchet MS" charset="0"/>
              </a:rPr>
              <a:t>Click to edit Master title style</a:t>
            </a:r>
          </a:p>
        </p:txBody>
      </p:sp>
      <p:sp>
        <p:nvSpPr>
          <p:cNvPr id="1028" name="Rectangle 13"/>
          <p:cNvSpPr>
            <a:spLocks/>
          </p:cNvSpPr>
          <p:nvPr/>
        </p:nvSpPr>
        <p:spPr bwMode="auto">
          <a:xfrm rot="10800000">
            <a:off x="7164388" y="6332538"/>
            <a:ext cx="86518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29" name="Rectangle 12"/>
          <p:cNvSpPr>
            <a:spLocks/>
          </p:cNvSpPr>
          <p:nvPr/>
        </p:nvSpPr>
        <p:spPr bwMode="auto">
          <a:xfrm rot="10800000">
            <a:off x="8015288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30" name="Rectangle 14"/>
          <p:cNvSpPr>
            <a:spLocks/>
          </p:cNvSpPr>
          <p:nvPr/>
        </p:nvSpPr>
        <p:spPr bwMode="auto">
          <a:xfrm rot="10800000">
            <a:off x="6269038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sp>
        <p:nvSpPr>
          <p:cNvPr id="1031" name="Rectangle 15"/>
          <p:cNvSpPr>
            <a:spLocks/>
          </p:cNvSpPr>
          <p:nvPr/>
        </p:nvSpPr>
        <p:spPr bwMode="auto">
          <a:xfrm rot="10800000">
            <a:off x="-6350" y="6332538"/>
            <a:ext cx="62753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ヒラギノ角ゴ ProN W3"/>
                <a:cs typeface="ヒラギノ角ゴ ProN W3"/>
              </a:defRPr>
            </a:lvl9pPr>
          </a:lstStyle>
          <a:p>
            <a:pPr>
              <a:defRPr/>
            </a:pPr>
            <a:endParaRPr lang="es-ES" altLang="en-US" smtClean="0">
              <a:solidFill>
                <a:srgbClr val="000000"/>
              </a:solidFill>
              <a:sym typeface="Gill Sans"/>
            </a:endParaRPr>
          </a:p>
        </p:txBody>
      </p:sp>
      <p:grpSp>
        <p:nvGrpSpPr>
          <p:cNvPr id="10248" name="Agrupar 13"/>
          <p:cNvGrpSpPr>
            <a:grpSpLocks/>
          </p:cNvGrpSpPr>
          <p:nvPr/>
        </p:nvGrpSpPr>
        <p:grpSpPr bwMode="auto">
          <a:xfrm flipH="1">
            <a:off x="-6350" y="836613"/>
            <a:ext cx="9144000" cy="49212"/>
            <a:chOff x="-6350" y="6332112"/>
            <a:chExt cx="9906000" cy="49216"/>
          </a:xfrm>
        </p:grpSpPr>
        <p:sp>
          <p:nvSpPr>
            <p:cNvPr id="1041" name="Rectangle 13"/>
            <p:cNvSpPr>
              <a:spLocks/>
            </p:cNvSpPr>
            <p:nvPr userDrawn="1"/>
          </p:nvSpPr>
          <p:spPr bwMode="auto">
            <a:xfrm rot="10800000">
              <a:off x="7761948" y="6332112"/>
              <a:ext cx="935567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2" name="Rectangle 12"/>
            <p:cNvSpPr>
              <a:spLocks/>
            </p:cNvSpPr>
            <p:nvPr userDrawn="1"/>
          </p:nvSpPr>
          <p:spPr bwMode="auto">
            <a:xfrm rot="10800000">
              <a:off x="8682038" y="6332112"/>
              <a:ext cx="121761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3" name="Rectangle 14"/>
            <p:cNvSpPr>
              <a:spLocks/>
            </p:cNvSpPr>
            <p:nvPr userDrawn="1"/>
          </p:nvSpPr>
          <p:spPr bwMode="auto">
            <a:xfrm rot="10800000">
              <a:off x="679198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  <p:sp>
          <p:nvSpPr>
            <p:cNvPr id="1044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833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endParaRPr lang="es-ES" altLang="en-US" smtClean="0">
                <a:solidFill>
                  <a:srgbClr val="000000"/>
                </a:solidFill>
                <a:sym typeface="Gill Sans"/>
              </a:endParaRPr>
            </a:p>
          </p:txBody>
        </p:sp>
      </p:grpSp>
      <p:sp>
        <p:nvSpPr>
          <p:cNvPr id="10249" name="AutoShape 5"/>
          <p:cNvSpPr>
            <a:spLocks/>
          </p:cNvSpPr>
          <p:nvPr/>
        </p:nvSpPr>
        <p:spPr bwMode="auto">
          <a:xfrm>
            <a:off x="8029575" y="6502400"/>
            <a:ext cx="830263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s-ES_tradnl"/>
          </a:p>
        </p:txBody>
      </p:sp>
      <p:grpSp>
        <p:nvGrpSpPr>
          <p:cNvPr id="10250" name="Grupo 1"/>
          <p:cNvGrpSpPr>
            <a:grpSpLocks/>
          </p:cNvGrpSpPr>
          <p:nvPr/>
        </p:nvGrpSpPr>
        <p:grpSpPr bwMode="auto">
          <a:xfrm>
            <a:off x="58738" y="6464300"/>
            <a:ext cx="2103437" cy="360363"/>
            <a:chOff x="58864" y="6464175"/>
            <a:chExt cx="2103463" cy="359735"/>
          </a:xfrm>
        </p:grpSpPr>
        <p:grpSp>
          <p:nvGrpSpPr>
            <p:cNvPr id="1025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025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  <p:sp>
            <p:nvSpPr>
              <p:cNvPr id="1025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s-ES_tradnl"/>
              </a:p>
            </p:txBody>
          </p:sp>
        </p:grpSp>
        <p:sp>
          <p:nvSpPr>
            <p:cNvPr id="1038" name="22 CuadroTexto"/>
            <p:cNvSpPr txBox="1">
              <a:spLocks noChangeArrowheads="1"/>
            </p:cNvSpPr>
            <p:nvPr userDrawn="1"/>
          </p:nvSpPr>
          <p:spPr bwMode="auto">
            <a:xfrm>
              <a:off x="58864" y="6578276"/>
              <a:ext cx="2103463" cy="245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ヒラギノ角ゴ ProN W3"/>
                  <a:cs typeface="ヒラギノ角ゴ ProN W3"/>
                </a:defRPr>
              </a:lvl9pPr>
            </a:lstStyle>
            <a:p>
              <a:pPr>
                <a:defRPr/>
              </a:pPr>
              <a:r>
                <a:rPr lang="en-GB" altLang="en-US" sz="1000" i="1" smtClean="0">
                  <a:solidFill>
                    <a:srgbClr val="31859C"/>
                  </a:solidFill>
                  <a:latin typeface="Arial" pitchFamily="34" charset="0"/>
                  <a:cs typeface="Arial" pitchFamily="34" charset="0"/>
                  <a:sym typeface="Gill Sans"/>
                </a:rPr>
                <a:t>DISCOVER, DISRUPT, DELIVER</a:t>
              </a:r>
            </a:p>
          </p:txBody>
        </p:sp>
      </p:grpSp>
      <p:sp>
        <p:nvSpPr>
          <p:cNvPr id="1035" name="TextBox 46"/>
          <p:cNvSpPr txBox="1">
            <a:spLocks noChangeArrowheads="1"/>
          </p:cNvSpPr>
          <p:nvPr/>
        </p:nvSpPr>
        <p:spPr bwMode="gray">
          <a:xfrm>
            <a:off x="4297363" y="6535738"/>
            <a:ext cx="51117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pPr algn="ctr">
              <a:defRPr/>
            </a:pPr>
            <a:fld id="{CF2E8FD5-D63E-E04D-9501-3F8B37E72FAE}" type="slidenum">
              <a:rPr lang="en-GB" sz="1000" smtClean="0">
                <a:solidFill>
                  <a:srgbClr val="072534"/>
                </a:solidFill>
                <a:sym typeface="Gill Sans" charset="0"/>
              </a:rPr>
              <a:pPr algn="ctr">
                <a:defRPr/>
              </a:pPr>
              <a:t>‹Nº›</a:t>
            </a:fld>
            <a:endParaRPr lang="en-GB" sz="1000" smtClean="0">
              <a:solidFill>
                <a:srgbClr val="072534"/>
              </a:solidFill>
              <a:sym typeface="Gill Sans" charset="0"/>
            </a:endParaRPr>
          </a:p>
        </p:txBody>
      </p:sp>
      <p:sp>
        <p:nvSpPr>
          <p:cNvPr id="10252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265113" y="1268413"/>
            <a:ext cx="8594725" cy="468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57" r:id="rId3"/>
    <p:sldLayoutId id="2147484158" r:id="rId4"/>
  </p:sldLayoutIdLst>
  <p:timing>
    <p:tnLst>
      <p:par>
        <p:cTn id="1" dur="indefinite" restart="never" nodeType="tmRoot"/>
      </p:par>
    </p:tnLst>
  </p:timing>
  <p:hf hdr="0" ftr="0"/>
  <p:txStyles>
    <p:titleStyle>
      <a:lvl1pPr marL="174625" indent="-174625" algn="l" rtl="0" eaLnBrk="0" fontAlgn="base" hangingPunct="0">
        <a:spcBef>
          <a:spcPct val="0"/>
        </a:spcBef>
        <a:spcAft>
          <a:spcPct val="0"/>
        </a:spcAft>
        <a:defRPr lang="de-DE" sz="2000" b="1" kern="120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charset="0"/>
        </a:defRPr>
      </a:lvl1pPr>
      <a:lvl2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2pPr>
      <a:lvl3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3pPr>
      <a:lvl4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4pPr>
      <a:lvl5pPr marL="174625" indent="-17462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charset="0"/>
        </a:defRPr>
      </a:lvl5pPr>
      <a:lvl6pPr marL="6318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6pPr>
      <a:lvl7pPr marL="10890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7pPr>
      <a:lvl8pPr marL="15462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8pPr>
      <a:lvl9pPr marL="2003425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  <a:ea typeface="ヒラギノ角ゴ Pro W3"/>
          <a:cs typeface="ヒラギノ角ゴ ProN W3"/>
          <a:sym typeface="Trebuchet MS" pitchFamily="34" charset="0"/>
        </a:defRPr>
      </a:lvl9pPr>
    </p:titleStyle>
    <p:bodyStyle>
      <a:lvl1pPr marL="285750" indent="-285750" algn="l" rtl="0" eaLnBrk="0" fontAlgn="base" hangingPunct="0">
        <a:spcBef>
          <a:spcPts val="1925"/>
        </a:spcBef>
        <a:spcAft>
          <a:spcPct val="0"/>
        </a:spcAft>
        <a:buClr>
          <a:srgbClr val="008597"/>
        </a:buClr>
        <a:buFont typeface="Wingdings 3" charset="0"/>
        <a:buChar char=""/>
        <a:defRPr lang="en-US" altLang="en-US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–"/>
        <a:defRPr lang="en-US" altLang="en-US" kern="1200" dirty="0">
          <a:solidFill>
            <a:schemeClr val="tx1"/>
          </a:solidFill>
          <a:latin typeface="+mn-lt"/>
          <a:ea typeface="ＭＳ Ｐゴシック" charset="0"/>
          <a:cs typeface="Arial" pitchFamily="34" charset="0"/>
        </a:defRPr>
      </a:lvl2pPr>
      <a:lvl3pPr marL="806450" indent="-266700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•"/>
        <a:defRPr lang="en-US" altLang="en-US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071563" indent="-265113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–"/>
        <a:defRPr lang="en-US" altLang="en-US" sz="1600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1346200" indent="-274638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Clr>
          <a:srgbClr val="008597"/>
        </a:buClr>
        <a:buFont typeface="Arial" charset="0"/>
        <a:buChar char="•"/>
        <a:defRPr lang="en-US" altLang="en-US" sz="1600" kern="1200" dirty="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88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3316" name="Rectangle 1"/>
          <p:cNvSpPr>
            <a:spLocks/>
          </p:cNvSpPr>
          <p:nvPr userDrawn="1"/>
        </p:nvSpPr>
        <p:spPr bwMode="auto">
          <a:xfrm>
            <a:off x="0" y="0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/>
            <a:endParaRPr lang="es-ES" sz="2800">
              <a:solidFill>
                <a:srgbClr val="000000"/>
              </a:solidFill>
              <a:latin typeface="Arial" charset="0"/>
              <a:cs typeface="Arial" charset="0"/>
              <a:sym typeface="Gill San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charset="0"/>
        <a:buChar char="§"/>
        <a:defRPr sz="1600">
          <a:solidFill>
            <a:srgbClr val="255C8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3E560-B547-4DCE-81C8-795F1807C834}" type="datetimeFigureOut">
              <a:rPr lang="es-ES" smtClean="0"/>
              <a:pPr/>
              <a:t>21/12/2015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C90D2-5523-435D-A8C0-D0A8311CCA36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7422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2856"/>
            <a:ext cx="7772400" cy="1020762"/>
          </a:xfrm>
        </p:spPr>
        <p:txBody>
          <a:bodyPr>
            <a:noAutofit/>
          </a:bodyPr>
          <a:lstStyle/>
          <a:p>
            <a:r>
              <a:rPr lang="es-PE" sz="4800" dirty="0" smtClean="0"/>
              <a:t> AGENTE </a:t>
            </a:r>
            <a:r>
              <a:rPr lang="es-PE" sz="4400" dirty="0" smtClean="0"/>
              <a:t>INTELIGENTE CON PROCESAMIENTO DE LENGUAJE NATURAL</a:t>
            </a:r>
            <a:endParaRPr lang="es-PE" sz="4400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2347664" y="3717032"/>
            <a:ext cx="6400800" cy="504056"/>
          </a:xfrm>
        </p:spPr>
        <p:txBody>
          <a:bodyPr>
            <a:noAutofit/>
          </a:bodyPr>
          <a:lstStyle/>
          <a:p>
            <a:r>
              <a:rPr lang="es-PE" sz="2800" dirty="0" smtClean="0"/>
              <a:t>SISTEMAS OPERATIVOS</a:t>
            </a:r>
            <a:endParaRPr lang="es-PE" sz="2800" dirty="0"/>
          </a:p>
        </p:txBody>
      </p:sp>
      <p:sp>
        <p:nvSpPr>
          <p:cNvPr id="4" name="2 Subtítulo"/>
          <p:cNvSpPr txBox="1">
            <a:spLocks/>
          </p:cNvSpPr>
          <p:nvPr/>
        </p:nvSpPr>
        <p:spPr>
          <a:xfrm>
            <a:off x="2500064" y="4581128"/>
            <a:ext cx="6400800" cy="18722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PE" sz="1400" b="1" dirty="0"/>
              <a:t>P</a:t>
            </a:r>
            <a:r>
              <a:rPr lang="es-PE" sz="1400" b="1" dirty="0" smtClean="0"/>
              <a:t>ROFESOR</a:t>
            </a:r>
            <a:r>
              <a:rPr lang="es-PE" sz="1400" b="1" dirty="0"/>
              <a:t>:</a:t>
            </a:r>
            <a:endParaRPr lang="es-ES" sz="1400" dirty="0"/>
          </a:p>
          <a:p>
            <a:r>
              <a:rPr lang="es-PE" sz="1400" dirty="0" err="1" smtClean="0"/>
              <a:t>Phd</a:t>
            </a:r>
            <a:r>
              <a:rPr lang="es-PE" sz="1400" dirty="0" smtClean="0"/>
              <a:t>. Aldo Camargo Fernández-Baca</a:t>
            </a:r>
          </a:p>
          <a:p>
            <a:endParaRPr lang="es-ES" sz="1400" dirty="0"/>
          </a:p>
          <a:p>
            <a:r>
              <a:rPr lang="es-PE" sz="1400" b="1" dirty="0"/>
              <a:t>INTEGRANTES:</a:t>
            </a:r>
            <a:endParaRPr lang="es-ES" sz="1400" dirty="0"/>
          </a:p>
          <a:p>
            <a:r>
              <a:rPr lang="es-PE" sz="1400" dirty="0" smtClean="0"/>
              <a:t>Martínez Estrada Jerson </a:t>
            </a:r>
            <a:endParaRPr lang="es-ES" sz="1400" dirty="0"/>
          </a:p>
          <a:p>
            <a:pPr fontAlgn="auto">
              <a:spcAft>
                <a:spcPts val="0"/>
              </a:spcAft>
            </a:pPr>
            <a:r>
              <a:rPr lang="es-PE" sz="1400" dirty="0" smtClean="0"/>
              <a:t>Guadalupe </a:t>
            </a:r>
            <a:r>
              <a:rPr lang="es-PE" sz="1400" dirty="0" err="1" smtClean="0"/>
              <a:t>Halanocca</a:t>
            </a:r>
            <a:r>
              <a:rPr lang="es-PE" sz="1400" dirty="0" smtClean="0"/>
              <a:t> Julio</a:t>
            </a:r>
            <a:endParaRPr lang="es-PE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 txBox="1">
            <a:spLocks noChangeArrowheads="1"/>
          </p:cNvSpPr>
          <p:nvPr/>
        </p:nvSpPr>
        <p:spPr bwMode="auto">
          <a:xfrm>
            <a:off x="144463" y="79375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174625" eaLnBrk="0" hangingPunct="0"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ヒラギノ角ゴ ProN W3" charset="0"/>
                <a:cs typeface="ヒラギノ角ゴ ProN W3" charset="0"/>
              </a:defRPr>
            </a:lvl9pPr>
          </a:lstStyle>
          <a:p>
            <a:r>
              <a:rPr lang="es-ES" sz="3200" b="1" dirty="0" smtClean="0">
                <a:ea typeface="ヒラギノ角ゴ Pro W3" charset="0"/>
                <a:cs typeface="ヒラギノ角ゴ Pro W3" charset="0"/>
                <a:sym typeface="Trebuchet MS" charset="0"/>
              </a:rPr>
              <a:t>Contenidos</a:t>
            </a:r>
            <a:endParaRPr lang="es-ES" b="1" dirty="0">
              <a:solidFill>
                <a:srgbClr val="003245"/>
              </a:solidFill>
              <a:ea typeface="ヒラギノ角ゴ Pro W3" charset="0"/>
              <a:cs typeface="ヒラギノ角ゴ Pro W3" charset="0"/>
              <a:sym typeface="Trebuchet MS" charset="0"/>
            </a:endParaRP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196213" y="1724746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es-ES_tradnl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Descripción del problema 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gray">
          <a:xfrm>
            <a:off x="1196213" y="2602634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Objetivos del Proyecto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gray">
          <a:xfrm>
            <a:off x="1196213" y="3482109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Herramientas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gray">
          <a:xfrm>
            <a:off x="1196213" y="4361584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Conclusiones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gray">
          <a:xfrm>
            <a:off x="328613" y="1724746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1</a:t>
            </a: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gray">
          <a:xfrm>
            <a:off x="328613" y="2602634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2</a:t>
            </a:r>
          </a:p>
        </p:txBody>
      </p:sp>
      <p:sp>
        <p:nvSpPr>
          <p:cNvPr id="27" name="Rectangle 10"/>
          <p:cNvSpPr>
            <a:spLocks noChangeArrowheads="1"/>
          </p:cNvSpPr>
          <p:nvPr/>
        </p:nvSpPr>
        <p:spPr bwMode="gray">
          <a:xfrm>
            <a:off x="328613" y="3482109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 smtClean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3</a:t>
            </a:r>
            <a:endParaRPr lang="de-DE" altLang="de-DE" sz="3200" b="1" noProof="1">
              <a:solidFill>
                <a:srgbClr val="FFFFFF"/>
              </a:solidFill>
              <a:effectLst>
                <a:outerShdw blurRad="190500" algn="ctr" rotWithShape="0">
                  <a:prstClr val="black">
                    <a:alpha val="50000"/>
                  </a:prstClr>
                </a:outerShdw>
              </a:effectLst>
              <a:cs typeface="Arial" charset="0"/>
            </a:endParaRP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gray">
          <a:xfrm>
            <a:off x="328613" y="4361584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 smtClean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4</a:t>
            </a:r>
            <a:endParaRPr lang="de-DE" altLang="de-DE" sz="3200" b="1" noProof="1">
              <a:solidFill>
                <a:srgbClr val="FFFFFF"/>
              </a:solidFill>
              <a:effectLst>
                <a:outerShdw blurRad="190500" algn="ctr" rotWithShape="0">
                  <a:prstClr val="black">
                    <a:alpha val="50000"/>
                  </a:prstClr>
                </a:outerShdw>
              </a:effectLst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437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396404" y="1556792"/>
            <a:ext cx="8352606" cy="129614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dirty="0" smtClean="0">
                <a:cs typeface="Arial" charset="0"/>
              </a:rPr>
              <a:t>El avance en las tecnologías de desarrollo, tanto en </a:t>
            </a:r>
            <a:r>
              <a:rPr lang="es-ES_tradnl" sz="2000" i="1" dirty="0" smtClean="0">
                <a:cs typeface="Arial" charset="0"/>
              </a:rPr>
              <a:t>software</a:t>
            </a:r>
            <a:r>
              <a:rPr lang="es-ES_tradnl" sz="2000" dirty="0" smtClean="0">
                <a:cs typeface="Arial" charset="0"/>
              </a:rPr>
              <a:t> como en </a:t>
            </a:r>
            <a:r>
              <a:rPr lang="es-ES_tradnl" sz="2000" i="1" dirty="0" smtClean="0">
                <a:cs typeface="Arial" charset="0"/>
              </a:rPr>
              <a:t>hardware</a:t>
            </a:r>
            <a:r>
              <a:rPr lang="es-ES_tradnl" sz="2000" dirty="0" smtClean="0">
                <a:cs typeface="Arial" charset="0"/>
              </a:rPr>
              <a:t> hizo que surjan nuevas necesidades para el control de nuestro entorno. Estas características se reflejan en la necesidad constante de comunicación, seguridad y automatización de tareas.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133544" y="185120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es-ES_tradnl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Descripción del problema 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265944" y="185120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1</a:t>
            </a:r>
          </a:p>
        </p:txBody>
      </p:sp>
      <p:pic>
        <p:nvPicPr>
          <p:cNvPr id="81922" name="Picture 2" descr="http://edgecast.tech.buscafs.com/uploads/images/34552_614x32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8532" y="3356992"/>
            <a:ext cx="5848350" cy="3114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0738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251520" y="1268760"/>
            <a:ext cx="8568630" cy="4752528"/>
            <a:chOff x="323850" y="908720"/>
            <a:chExt cx="2684835" cy="3645200"/>
          </a:xfrm>
        </p:grpSpPr>
        <p:sp>
          <p:nvSpPr>
            <p:cNvPr id="15" name="Rectangle 19"/>
            <p:cNvSpPr>
              <a:spLocks noChangeArrowheads="1"/>
            </p:cNvSpPr>
            <p:nvPr/>
          </p:nvSpPr>
          <p:spPr bwMode="gray">
            <a:xfrm>
              <a:off x="323850" y="908720"/>
              <a:ext cx="2684835" cy="521137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72000" rIns="108000" bIns="72000" anchor="ctr"/>
            <a:lstStyle/>
            <a:p>
              <a:pPr defTabSz="801688" eaLnBrk="0" hangingPunct="0"/>
              <a:r>
                <a:rPr lang="es-ES_tradnl" sz="2800" b="1" dirty="0" smtClean="0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cs typeface="Arial" charset="0"/>
                </a:rPr>
                <a:t>Objetivos del proyecto</a:t>
              </a:r>
              <a:endParaRPr lang="es-ES_tradnl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16" name="Rectangle 5"/>
            <p:cNvSpPr>
              <a:spLocks noChangeArrowheads="1"/>
            </p:cNvSpPr>
            <p:nvPr/>
          </p:nvSpPr>
          <p:spPr bwMode="gray">
            <a:xfrm>
              <a:off x="323850" y="1429857"/>
              <a:ext cx="2684835" cy="312406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just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s-ES_tradnl" sz="2000" dirty="0" smtClean="0">
                <a:cs typeface="Arial" charset="0"/>
              </a:endParaRPr>
            </a:p>
          </p:txBody>
        </p:sp>
      </p:grpSp>
      <p:pic>
        <p:nvPicPr>
          <p:cNvPr id="17" name="Picture 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7" t="3339"/>
          <a:stretch/>
        </p:blipFill>
        <p:spPr bwMode="auto">
          <a:xfrm>
            <a:off x="362804" y="2783604"/>
            <a:ext cx="2432148" cy="1776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rma libre 4"/>
          <p:cNvSpPr/>
          <p:nvPr/>
        </p:nvSpPr>
        <p:spPr>
          <a:xfrm>
            <a:off x="3707904" y="2060848"/>
            <a:ext cx="4822875" cy="1474229"/>
          </a:xfrm>
          <a:custGeom>
            <a:avLst/>
            <a:gdLst>
              <a:gd name="connsiteX0" fmla="*/ 0 w 3535587"/>
              <a:gd name="connsiteY0" fmla="*/ 0 h 1273197"/>
              <a:gd name="connsiteX1" fmla="*/ 2898989 w 3535587"/>
              <a:gd name="connsiteY1" fmla="*/ 0 h 1273197"/>
              <a:gd name="connsiteX2" fmla="*/ 3535587 w 3535587"/>
              <a:gd name="connsiteY2" fmla="*/ 636599 h 1273197"/>
              <a:gd name="connsiteX3" fmla="*/ 2898989 w 3535587"/>
              <a:gd name="connsiteY3" fmla="*/ 1273197 h 1273197"/>
              <a:gd name="connsiteX4" fmla="*/ 0 w 3535587"/>
              <a:gd name="connsiteY4" fmla="*/ 1273197 h 1273197"/>
              <a:gd name="connsiteX5" fmla="*/ 0 w 3535587"/>
              <a:gd name="connsiteY5" fmla="*/ 0 h 127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587" h="1273197">
                <a:moveTo>
                  <a:pt x="3535587" y="1273196"/>
                </a:moveTo>
                <a:lnTo>
                  <a:pt x="636598" y="1273196"/>
                </a:lnTo>
                <a:lnTo>
                  <a:pt x="0" y="636598"/>
                </a:lnTo>
                <a:lnTo>
                  <a:pt x="636598" y="1"/>
                </a:lnTo>
                <a:lnTo>
                  <a:pt x="3535587" y="1"/>
                </a:lnTo>
                <a:lnTo>
                  <a:pt x="3535587" y="1273196"/>
                </a:lnTo>
                <a:close/>
              </a:path>
            </a:pathLst>
          </a:custGeom>
          <a:solidFill>
            <a:srgbClr val="00B0F0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9744" tIns="76200" rIns="142240" bIns="762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es-PE" sz="2000" dirty="0" smtClean="0"/>
              <a:t>Programar un </a:t>
            </a:r>
            <a:r>
              <a:rPr lang="es-PE" sz="2000" b="1" dirty="0" smtClean="0"/>
              <a:t>agente inteligente</a:t>
            </a:r>
            <a:r>
              <a:rPr lang="es-PE" sz="2000" dirty="0" smtClean="0"/>
              <a:t>, que mantenga el </a:t>
            </a:r>
            <a:r>
              <a:rPr lang="es-PE" sz="2000" b="1" dirty="0" smtClean="0"/>
              <a:t>control del hogar </a:t>
            </a:r>
            <a:r>
              <a:rPr lang="es-PE" sz="2000" dirty="0" smtClean="0"/>
              <a:t>mediante tareas específicas.</a:t>
            </a:r>
            <a:endParaRPr lang="en-GB" sz="2000" kern="1200" dirty="0"/>
          </a:p>
        </p:txBody>
      </p:sp>
      <p:sp>
        <p:nvSpPr>
          <p:cNvPr id="8" name="Forma libre 7"/>
          <p:cNvSpPr/>
          <p:nvPr/>
        </p:nvSpPr>
        <p:spPr>
          <a:xfrm>
            <a:off x="3707904" y="3789040"/>
            <a:ext cx="4822875" cy="2038442"/>
          </a:xfrm>
          <a:custGeom>
            <a:avLst/>
            <a:gdLst>
              <a:gd name="connsiteX0" fmla="*/ 0 w 3535587"/>
              <a:gd name="connsiteY0" fmla="*/ 0 h 1273197"/>
              <a:gd name="connsiteX1" fmla="*/ 2898989 w 3535587"/>
              <a:gd name="connsiteY1" fmla="*/ 0 h 1273197"/>
              <a:gd name="connsiteX2" fmla="*/ 3535587 w 3535587"/>
              <a:gd name="connsiteY2" fmla="*/ 636599 h 1273197"/>
              <a:gd name="connsiteX3" fmla="*/ 2898989 w 3535587"/>
              <a:gd name="connsiteY3" fmla="*/ 1273197 h 1273197"/>
              <a:gd name="connsiteX4" fmla="*/ 0 w 3535587"/>
              <a:gd name="connsiteY4" fmla="*/ 1273197 h 1273197"/>
              <a:gd name="connsiteX5" fmla="*/ 0 w 3535587"/>
              <a:gd name="connsiteY5" fmla="*/ 0 h 127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5587" h="1273197">
                <a:moveTo>
                  <a:pt x="3535587" y="1273196"/>
                </a:moveTo>
                <a:lnTo>
                  <a:pt x="636598" y="1273196"/>
                </a:lnTo>
                <a:lnTo>
                  <a:pt x="0" y="636598"/>
                </a:lnTo>
                <a:lnTo>
                  <a:pt x="636598" y="1"/>
                </a:lnTo>
                <a:lnTo>
                  <a:pt x="3535587" y="1"/>
                </a:lnTo>
                <a:lnTo>
                  <a:pt x="3535587" y="127319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9744" tIns="76201" rIns="142240" bIns="76200" numCol="1" spcCol="1270" anchor="ctr" anchorCtr="0">
            <a:noAutofit/>
          </a:bodyPr>
          <a:lstStyle/>
          <a:p>
            <a:pPr marL="457200" lvl="0" indent="-45720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en-GB" kern="1200" dirty="0" smtClean="0"/>
              <a:t>Aplicar conceptos de </a:t>
            </a:r>
            <a:r>
              <a:rPr lang="en-GB" b="1" dirty="0" err="1" smtClean="0"/>
              <a:t>Inteligencia</a:t>
            </a:r>
            <a:r>
              <a:rPr lang="en-GB" b="1" dirty="0" smtClean="0"/>
              <a:t> Artificial</a:t>
            </a:r>
            <a:r>
              <a:rPr lang="en-GB" kern="1200" dirty="0" smtClean="0"/>
              <a:t>.</a:t>
            </a:r>
          </a:p>
          <a:p>
            <a:pPr marL="457200" lvl="0" indent="-45720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en-GB" kern="1200" dirty="0" err="1" smtClean="0"/>
              <a:t>Implementar</a:t>
            </a:r>
            <a:r>
              <a:rPr lang="en-GB" kern="1200" dirty="0" smtClean="0"/>
              <a:t> un </a:t>
            </a:r>
            <a:r>
              <a:rPr lang="en-GB" kern="1200" dirty="0" err="1" smtClean="0"/>
              <a:t>sistema</a:t>
            </a:r>
            <a:r>
              <a:rPr lang="en-GB" kern="1200" dirty="0" smtClean="0"/>
              <a:t> para el </a:t>
            </a:r>
            <a:r>
              <a:rPr lang="en-GB" b="1" kern="1200" dirty="0" err="1" smtClean="0"/>
              <a:t>procesamiento</a:t>
            </a:r>
            <a:r>
              <a:rPr lang="en-GB" b="1" kern="1200" dirty="0" smtClean="0"/>
              <a:t> de </a:t>
            </a:r>
            <a:r>
              <a:rPr lang="en-GB" b="1" kern="1200" dirty="0" err="1" smtClean="0"/>
              <a:t>lenguaje</a:t>
            </a:r>
            <a:r>
              <a:rPr lang="en-GB" b="1" kern="1200" dirty="0" smtClean="0"/>
              <a:t> natural</a:t>
            </a:r>
            <a:r>
              <a:rPr lang="en-GB" kern="1200" dirty="0" smtClean="0"/>
              <a:t>.</a:t>
            </a:r>
          </a:p>
          <a:p>
            <a:pPr marL="457200" lvl="0" indent="-45720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en-GB" dirty="0" err="1" smtClean="0"/>
              <a:t>Hacer</a:t>
            </a:r>
            <a:r>
              <a:rPr lang="en-GB" dirty="0" smtClean="0"/>
              <a:t> </a:t>
            </a:r>
            <a:r>
              <a:rPr lang="en-GB" dirty="0" err="1" smtClean="0"/>
              <a:t>uso</a:t>
            </a:r>
            <a:r>
              <a:rPr lang="en-GB" dirty="0" smtClean="0"/>
              <a:t> del </a:t>
            </a:r>
            <a:r>
              <a:rPr lang="en-GB" b="1" dirty="0" smtClean="0"/>
              <a:t>hardware </a:t>
            </a:r>
            <a:r>
              <a:rPr lang="en-GB" b="1" dirty="0" err="1" smtClean="0"/>
              <a:t>libre</a:t>
            </a:r>
            <a:r>
              <a:rPr lang="en-GB" b="1" dirty="0" smtClean="0"/>
              <a:t> </a:t>
            </a:r>
            <a:r>
              <a:rPr lang="en-GB" dirty="0" smtClean="0"/>
              <a:t>para </a:t>
            </a:r>
            <a:r>
              <a:rPr lang="en-GB" dirty="0" err="1" smtClean="0"/>
              <a:t>apoyar</a:t>
            </a:r>
            <a:r>
              <a:rPr lang="en-GB" dirty="0" smtClean="0"/>
              <a:t> </a:t>
            </a:r>
            <a:r>
              <a:rPr lang="en-GB" dirty="0" err="1" smtClean="0"/>
              <a:t>en</a:t>
            </a:r>
            <a:r>
              <a:rPr lang="en-GB" dirty="0" smtClean="0"/>
              <a:t> las </a:t>
            </a:r>
            <a:r>
              <a:rPr lang="en-GB" dirty="0" err="1" smtClean="0"/>
              <a:t>tareas</a:t>
            </a:r>
            <a:r>
              <a:rPr lang="en-GB" dirty="0" smtClean="0"/>
              <a:t>.</a:t>
            </a:r>
            <a:endParaRPr lang="en-GB" kern="1200" dirty="0"/>
          </a:p>
        </p:txBody>
      </p:sp>
      <p:sp>
        <p:nvSpPr>
          <p:cNvPr id="3" name="2 CuadroTexto"/>
          <p:cNvSpPr txBox="1"/>
          <p:nvPr/>
        </p:nvSpPr>
        <p:spPr>
          <a:xfrm>
            <a:off x="2483768" y="2492896"/>
            <a:ext cx="1181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>
                <a:cs typeface="Arial" charset="0"/>
              </a:rPr>
              <a:t>Objetivo general</a:t>
            </a:r>
            <a:endParaRPr lang="es-ES" dirty="0"/>
          </a:p>
        </p:txBody>
      </p:sp>
      <p:sp>
        <p:nvSpPr>
          <p:cNvPr id="27" name="26 CuadroTexto"/>
          <p:cNvSpPr txBox="1"/>
          <p:nvPr/>
        </p:nvSpPr>
        <p:spPr>
          <a:xfrm>
            <a:off x="2483768" y="4509120"/>
            <a:ext cx="1487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>
                <a:cs typeface="Arial" charset="0"/>
              </a:rPr>
              <a:t>Objetivos específicos</a:t>
            </a:r>
            <a:endParaRPr lang="es-ES" dirty="0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1133544" y="185120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es-ES_tradnl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Objetivos del proyecto 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gray">
          <a:xfrm>
            <a:off x="265944" y="185120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5700738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1154606" y="1338158"/>
            <a:ext cx="2807444" cy="201622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b="1" i="1" dirty="0" smtClean="0">
                <a:cs typeface="Arial" charset="0"/>
              </a:rPr>
              <a:t>Python</a:t>
            </a:r>
            <a:r>
              <a:rPr lang="es-ES_tradnl" sz="2000" dirty="0" smtClean="0">
                <a:cs typeface="Arial" charset="0"/>
              </a:rPr>
              <a:t>, lenguaje de programación que más se adecua para el desarrollo de modelos y clasificadores que implementa la IA.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133544" y="185120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Herramientas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265944" y="185120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3</a:t>
            </a:r>
          </a:p>
        </p:txBody>
      </p:sp>
      <p:pic>
        <p:nvPicPr>
          <p:cNvPr id="8" name="7 Imagen" descr="Sueldo de programadores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3645024"/>
            <a:ext cx="5905500" cy="29337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5580112" y="1341963"/>
            <a:ext cx="2807444" cy="201622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b="1" i="1" dirty="0" err="1" smtClean="0">
                <a:cs typeface="Arial" charset="0"/>
              </a:rPr>
              <a:t>Arduino</a:t>
            </a:r>
            <a:r>
              <a:rPr lang="es-ES_tradnl" sz="2000" dirty="0" smtClean="0">
                <a:cs typeface="Arial" charset="0"/>
              </a:rPr>
              <a:t>, plataforma open hardware   que permite el control de artefactos que permite incorporar sensores.</a:t>
            </a:r>
          </a:p>
        </p:txBody>
      </p:sp>
    </p:spTree>
    <p:extLst>
      <p:ext uri="{BB962C8B-B14F-4D97-AF65-F5344CB8AC3E}">
        <p14:creationId xmlns:p14="http://schemas.microsoft.com/office/powerpoint/2010/main" val="4248980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1154606" y="1338158"/>
            <a:ext cx="2807444" cy="201622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b="1" i="1" dirty="0" smtClean="0">
                <a:cs typeface="Arial" charset="0"/>
              </a:rPr>
              <a:t>Api Twitter</a:t>
            </a:r>
            <a:r>
              <a:rPr lang="es-ES_tradnl" sz="2000" dirty="0" smtClean="0">
                <a:cs typeface="Arial" charset="0"/>
              </a:rPr>
              <a:t>, posee características que permite administrar un perfil y hacer obtener información de otros usuarios.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133544" y="185120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Herramientas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265944" y="185120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3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5580112" y="1341963"/>
            <a:ext cx="2807444" cy="201622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b="1" i="1" dirty="0" smtClean="0">
                <a:cs typeface="Arial" charset="0"/>
              </a:rPr>
              <a:t>PLN</a:t>
            </a:r>
            <a:r>
              <a:rPr lang="es-ES_tradnl" sz="2000" dirty="0" smtClean="0">
                <a:cs typeface="Arial" charset="0"/>
              </a:rPr>
              <a:t>, implementa algoritmos para simular el razonamiento humano para comprender el lenguaje  humano.  </a:t>
            </a: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1" y="4121034"/>
            <a:ext cx="8087717" cy="22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9329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265944" y="185120"/>
            <a:ext cx="723600" cy="723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algn="ctr" defTabSz="801688" eaLnBrk="0" hangingPunct="0"/>
            <a:r>
              <a:rPr lang="de-DE" altLang="de-DE" sz="3200" b="1" noProof="1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rPr>
              <a:t>4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133544" y="185120"/>
            <a:ext cx="7638224" cy="723600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72000" rIns="108000" bIns="72000" anchor="ctr"/>
          <a:lstStyle/>
          <a:p>
            <a:pPr defTabSz="801688" eaLnBrk="0" hangingPunct="0"/>
            <a:r>
              <a:rPr lang="de-DE" altLang="de-DE" sz="2400" noProof="1" smtClean="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Conclusiones</a:t>
            </a:r>
            <a:endParaRPr lang="de-DE" altLang="de-DE" sz="2400" noProof="1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</p:txBody>
      </p:sp>
      <p:pic>
        <p:nvPicPr>
          <p:cNvPr id="27" name="26 Imagen" descr="March goals (1).png"/>
          <p:cNvPicPr>
            <a:picLocks noChangeAspect="1"/>
          </p:cNvPicPr>
          <p:nvPr/>
        </p:nvPicPr>
        <p:blipFill rotWithShape="1">
          <a:blip r:embed="rId3" cstate="print"/>
          <a:srcRect l="65460" t="30050" r="19950" b="45932"/>
          <a:stretch/>
        </p:blipFill>
        <p:spPr>
          <a:xfrm>
            <a:off x="7616304" y="1133854"/>
            <a:ext cx="1334110" cy="1647074"/>
          </a:xfrm>
          <a:prstGeom prst="rect">
            <a:avLst/>
          </a:prstGeom>
        </p:spPr>
      </p:pic>
      <p:sp>
        <p:nvSpPr>
          <p:cNvPr id="29" name="Rectangle 5"/>
          <p:cNvSpPr>
            <a:spLocks noChangeArrowheads="1"/>
          </p:cNvSpPr>
          <p:nvPr/>
        </p:nvSpPr>
        <p:spPr bwMode="gray">
          <a:xfrm>
            <a:off x="1131244" y="1556792"/>
            <a:ext cx="5456979" cy="1656184"/>
          </a:xfrm>
          <a:prstGeom prst="rect">
            <a:avLst/>
          </a:prstGeom>
          <a:solidFill>
            <a:srgbClr val="FFFFFF"/>
          </a:soli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/>
          <a:lstStyle/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r>
              <a:rPr lang="es-ES_tradnl" sz="2000" dirty="0" smtClean="0">
                <a:cs typeface="Arial" charset="0"/>
              </a:rPr>
              <a:t>El agente inteligente facilita el control de procesos de seguridad de hogar, </a:t>
            </a:r>
            <a:r>
              <a:rPr lang="es-ES_tradnl" sz="2000" dirty="0" err="1" smtClean="0">
                <a:cs typeface="Arial" charset="0"/>
              </a:rPr>
              <a:t>mining</a:t>
            </a:r>
            <a:r>
              <a:rPr lang="es-ES_tradnl" sz="2000" dirty="0" smtClean="0">
                <a:cs typeface="Arial" charset="0"/>
              </a:rPr>
              <a:t> de la web y procesos recreativos que son parte de la vida diaria actualmente. </a:t>
            </a:r>
          </a:p>
          <a:p>
            <a:pPr algn="just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</a:pPr>
            <a:endParaRPr lang="es-ES_tradnl" sz="2000" dirty="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154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ortadaTelefo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9_Telefonica_Eco_Template">
  <a:themeElements>
    <a:clrScheme name="TelefonicaECO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8597"/>
      </a:hlink>
      <a:folHlink>
        <a:srgbClr val="0095A7"/>
      </a:folHlink>
    </a:clrScheme>
    <a:fontScheme name="TelefonicaTrebuchet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28575" algn="ctr">
          <a:noFill/>
          <a:miter lim="800000"/>
          <a:headEnd/>
          <a:tailEnd/>
        </a:ln>
        <a:effectLst/>
      </a:spPr>
      <a:bodyPr lIns="126000" tIns="0" rIns="18000" bIns="0" rtlCol="0" anchor="ctr"/>
      <a:lstStyle>
        <a:defPPr algn="ctr" eaLnBrk="0" fontAlgn="base" hangingPunct="0">
          <a:spcBef>
            <a:spcPct val="0"/>
          </a:spcBef>
          <a:spcAft>
            <a:spcPct val="0"/>
          </a:spcAft>
          <a:defRPr sz="1200" dirty="0" err="1" smtClean="0">
            <a:solidFill>
              <a:srgbClr val="FFFFFF"/>
            </a:solidFill>
          </a:defRPr>
        </a:defPPr>
      </a:lst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3.xml><?xml version="1.0" encoding="utf-8"?>
<a:theme xmlns:a="http://schemas.openxmlformats.org/drawingml/2006/main" name="90_Telefonica_Eco_Template">
  <a:themeElements>
    <a:clrScheme name="TelefonicaECO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8597"/>
      </a:hlink>
      <a:folHlink>
        <a:srgbClr val="0095A7"/>
      </a:folHlink>
    </a:clrScheme>
    <a:fontScheme name="TelefonicaTrebuchet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28575" algn="ctr">
          <a:noFill/>
          <a:miter lim="800000"/>
          <a:headEnd/>
          <a:tailEnd/>
        </a:ln>
        <a:effectLst/>
      </a:spPr>
      <a:bodyPr lIns="126000" tIns="0" rIns="18000" bIns="0" rtlCol="0" anchor="ctr"/>
      <a:lstStyle>
        <a:defPPr algn="ctr" eaLnBrk="0" fontAlgn="base" hangingPunct="0">
          <a:spcBef>
            <a:spcPct val="0"/>
          </a:spcBef>
          <a:spcAft>
            <a:spcPct val="0"/>
          </a:spcAft>
          <a:defRPr sz="1200" dirty="0" err="1" smtClean="0">
            <a:solidFill>
              <a:srgbClr val="FFFFFF"/>
            </a:solidFill>
          </a:defRPr>
        </a:defPPr>
      </a:lst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4.xml><?xml version="1.0" encoding="utf-8"?>
<a:theme xmlns:a="http://schemas.openxmlformats.org/drawingml/2006/main" name="8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47</TotalTime>
  <Words>248</Words>
  <Application>Microsoft Office PowerPoint</Application>
  <PresentationFormat>Presentación en pantalla (4:3)</PresentationFormat>
  <Paragraphs>45</Paragraphs>
  <Slides>7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3" baseType="lpstr">
      <vt:lpstr>PortadaTelefonica</vt:lpstr>
      <vt:lpstr>89_Telefonica_Eco_Template</vt:lpstr>
      <vt:lpstr>90_Telefonica_Eco_Template</vt:lpstr>
      <vt:lpstr>8_Diseño personalizado</vt:lpstr>
      <vt:lpstr>Tema de Office</vt:lpstr>
      <vt:lpstr>think-cell Slide</vt:lpstr>
      <vt:lpstr> AGENTE INTELIGENTE CON PROCESAMIENTO DE LENGUAJE NATUR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Telefónica Españ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erencia Conocimiento I+D a Telefonica España Septiembre 2014</dc:title>
  <dc:creator>Telefonica</dc:creator>
  <cp:lastModifiedBy>JERSON</cp:lastModifiedBy>
  <cp:revision>442</cp:revision>
  <dcterms:created xsi:type="dcterms:W3CDTF">2014-09-08T12:02:06Z</dcterms:created>
  <dcterms:modified xsi:type="dcterms:W3CDTF">2015-12-22T02:15:29Z</dcterms:modified>
</cp:coreProperties>
</file>